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9" r:id="rId1"/>
  </p:sldMasterIdLst>
  <p:notesMasterIdLst>
    <p:notesMasterId r:id="rId10"/>
  </p:notesMasterIdLst>
  <p:sldIdLst>
    <p:sldId id="269" r:id="rId2"/>
    <p:sldId id="259" r:id="rId3"/>
    <p:sldId id="260" r:id="rId4"/>
    <p:sldId id="274" r:id="rId5"/>
    <p:sldId id="275" r:id="rId6"/>
    <p:sldId id="277" r:id="rId7"/>
    <p:sldId id="271" r:id="rId8"/>
    <p:sldId id="276" r:id="rId9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915E674-0BB0-40DC-B861-AF75ADF5D625}">
          <p14:sldIdLst>
            <p14:sldId id="269"/>
            <p14:sldId id="259"/>
            <p14:sldId id="260"/>
            <p14:sldId id="274"/>
            <p14:sldId id="275"/>
            <p14:sldId id="277"/>
            <p14:sldId id="271"/>
            <p14:sldId id="276"/>
          </p14:sldIdLst>
        </p14:section>
        <p14:section name="Unused Slides" id="{AAD429A1-3F5F-4A76-A44E-53F91EDA9916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F3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627"/>
    <p:restoredTop sz="94437" autoAdjust="0"/>
  </p:normalViewPr>
  <p:slideViewPr>
    <p:cSldViewPr snapToGrid="0">
      <p:cViewPr>
        <p:scale>
          <a:sx n="50" d="100"/>
          <a:sy n="50" d="100"/>
        </p:scale>
        <p:origin x="662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5F4B19-B8F3-2D4A-A5C3-F50E229D634E}" type="datetimeFigureOut">
              <a:rPr lang="en-NL" smtClean="0"/>
              <a:t>07/23/2023</a:t>
            </a:fld>
            <a:endParaRPr lang="en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630C84-0B78-6747-B512-EB0C9C6D318B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4406365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630C84-0B78-6747-B512-EB0C9C6D318B}" type="slidenum">
              <a:rPr lang="en-NL" smtClean="0"/>
              <a:t>1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8138724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630C84-0B78-6747-B512-EB0C9C6D318B}" type="slidenum">
              <a:rPr lang="en-NL" smtClean="0"/>
              <a:t>2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741529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630C84-0B78-6747-B512-EB0C9C6D318B}" type="slidenum">
              <a:rPr lang="en-NL" smtClean="0"/>
              <a:t>3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9424836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630C84-0B78-6747-B512-EB0C9C6D318B}" type="slidenum">
              <a:rPr lang="en-NL" smtClean="0"/>
              <a:t>4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55225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630C84-0B78-6747-B512-EB0C9C6D318B}" type="slidenum">
              <a:rPr lang="en-NL" smtClean="0"/>
              <a:t>5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4453443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630C84-0B78-6747-B512-EB0C9C6D318B}" type="slidenum">
              <a:rPr lang="en-NL" smtClean="0"/>
              <a:t>6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40424222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630C84-0B78-6747-B512-EB0C9C6D318B}" type="slidenum">
              <a:rPr lang="en-NL" smtClean="0"/>
              <a:t>8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4863159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E53F9A5-D017-41A9-87FD-42B8B6C64282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70412374-88D8-4076-97A4-28B9D453A9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59052DC-E283-45E3-A11B-EFC0EF6405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C8E40EE6-74FE-4B63-ADD7-D8251359CC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6D34B50B-2467-467F-BE0D-CA832EE3A7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1004DF0B-038C-4CB4-89B3-42D949ED0B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2FB8C6E0-92EE-49AA-95D9-7BE219F64F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CEE92EC5-3F38-4286-A2DA-7B5E941BC2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3C2CE8EA-279F-441C-99BC-330C664B32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328EA017-C8BA-490A-9F7A-F880FE999A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BAE89DBE-19C8-422A-B7E6-D6726124DF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1480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C7679691-90FD-4587-A54E-DFB71521FB0F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4ACF8F1C-1E3E-405F-9EE4-66FBDF1175E0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0 Deloitte The Netherland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130A144-9E1C-48D4-8533-174AC48FF1C8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464887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452A60FA-C95E-401E-9AF3-D27C8C88BCCB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0 Deloitte The Netherland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32543E-E807-47A4-A234-D5C7012187B4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19914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E8E60749-A3E0-4E09-BF50-6D6B361BEF91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0 Deloitte The Netherland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09405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65288"/>
            <a:ext cx="9277349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36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27506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statement green acc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aseCode">
            <a:extLst>
              <a:ext uri="{FF2B5EF4-FFF2-40B4-BE49-F238E27FC236}">
                <a16:creationId xmlns:a16="http://schemas.microsoft.com/office/drawing/2014/main" id="{E87B4871-A895-4F6C-A692-6DEF6F3DEE68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D0A667F0-B7EF-4F5E-92CD-27B38F79EFE4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0 Deloitte The Netherland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64A1B9-9F97-4535-8A4A-8B7855E21172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187568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statement Green Accent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aseCode">
            <a:extLst>
              <a:ext uri="{FF2B5EF4-FFF2-40B4-BE49-F238E27FC236}">
                <a16:creationId xmlns:a16="http://schemas.microsoft.com/office/drawing/2014/main" id="{D2797B33-F6AE-464E-B1F9-AAF8C558042B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08CA3D77-96FD-468A-A22B-1C767AC6D413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0 Deloitte The Netherland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BBE2FB0-E266-461D-A917-BFDA5AA78690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6703978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aseCode">
            <a:extLst>
              <a:ext uri="{FF2B5EF4-FFF2-40B4-BE49-F238E27FC236}">
                <a16:creationId xmlns:a16="http://schemas.microsoft.com/office/drawing/2014/main" id="{662556F3-FB07-45E1-9730-3CF5E862F61B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D45EF10F-B1C8-4ED2-A091-1C2F837B31E4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0 Deloitte The Netherland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8E7A1D6-FD3E-4165-B102-6C7996E8698D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589532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36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aseCode">
            <a:extLst>
              <a:ext uri="{FF2B5EF4-FFF2-40B4-BE49-F238E27FC236}">
                <a16:creationId xmlns:a16="http://schemas.microsoft.com/office/drawing/2014/main" id="{FA9F65BC-7533-43CA-92A0-A245602E6E61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062DEA33-D70F-464E-8310-21426B95E5BC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0 Deloitte The Netherland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188BC9E-0C2C-4EB3-82B0-F3C9CEC9B2FE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091618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7054789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94557964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accent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BB00153-52E8-495A-BA32-E581AC7A8A67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EE44E009-869C-4AA1-972F-BFAD35A46F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DC9A9EB1-2077-4DFD-B533-87E250FD46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33ACF17B-FD5C-45C9-B731-4D7315B1D9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3D32D184-C4ED-4776-9DCC-E3F18CF55C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090BAC98-B3D7-4E96-B78D-0FE4BD1884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D81C0B16-CEDA-4DD7-AA0E-D7E98149B0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C71424E0-1449-47B0-BF76-7A226D3160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39CF108A-51E0-49A1-80F5-6286DB6FE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28BEACF0-05E8-46F1-8AE5-8FF2ADC543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B661CA16-D87B-4315-804A-3E82AE3F0C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5970799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6729413" algn="r"/>
              </a:tabLst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6729413" algn="r"/>
              </a:tabLst>
              <a:defRPr>
                <a:latin typeface="+mj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6729413" algn="r"/>
              </a:tabLst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6729413" algn="r"/>
              </a:tabLst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0368222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62256" y="405929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95300" y="1665288"/>
            <a:ext cx="2796541" cy="471646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554"/>
              </a:spcAft>
              <a:defRPr sz="969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665287"/>
            <a:ext cx="7916331" cy="4716461"/>
          </a:xfrm>
        </p:spPr>
        <p:txBody>
          <a:bodyPr>
            <a:noAutofit/>
          </a:bodyPr>
          <a:lstStyle>
            <a:lvl1pPr marL="0" indent="0" algn="l">
              <a:spcBef>
                <a:spcPts val="1662"/>
              </a:spcBef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7C54E12-F787-4B6D-B957-5BFB290BB220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ED842BC5-6476-461F-92C1-0BBC55269B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D5047E5-5216-4426-B515-7CA5331481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D0A93C1C-3209-487D-B5A2-563BA5D67C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8C70728D-0A6F-4BF8-A124-23D8A2DF30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B2CEECF2-0C1E-4BBC-BE4A-BC449A26DC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3B9E0F32-14A5-493D-83F2-F42588B924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692FD902-0E73-43D0-B1B8-FA25CD54FE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BCD3C252-8F19-4706-8A09-E47384633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32BC4765-ECD3-44BD-AD71-FC51A8134E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E37FCFBA-6C21-49F1-BD1E-969002567C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475D951-68C7-4A6F-ADC6-AB9C10E42F07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0549B55-8335-4CC4-9417-E768B8E137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0C08EAE3-1065-497F-B8AA-86005E1B7A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966AA8D-FE19-49A0-B249-C78D2E85CC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2289C80D-1FA5-42CC-A523-8259B7FD08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6261A9E2-F698-4343-96EA-AA0015AC51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1D1108B0-A2B5-43FD-8CC1-CC36168B90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AFA473B9-98DD-4132-83C3-26DCC5D0CC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E1286E94-0A74-4D64-8FE5-E2FC7038DC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DB23453-5417-4773-B5E0-516CE48D96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2DF2930F-8858-4645-96D1-C222466957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720471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665288"/>
            <a:ext cx="6240000" cy="4716463"/>
          </a:xfrm>
        </p:spPr>
        <p:txBody>
          <a:bodyPr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>
                <a:latin typeface="+mj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70520047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7275094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 sz="1600"/>
            </a:lvl1pPr>
            <a:lvl2pPr marL="177800" indent="-1778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600"/>
            </a:lvl2pPr>
            <a:lvl3pPr marL="3810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600"/>
            </a:lvl3pPr>
            <a:lvl4pPr marL="584200" indent="-1778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600"/>
            </a:lvl4pPr>
            <a:lvl5pPr marL="7874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 sz="1600"/>
            </a:lvl1pPr>
            <a:lvl2pPr marL="177800" indent="-1778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600"/>
            </a:lvl2pPr>
            <a:lvl3pPr marL="3810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600"/>
            </a:lvl3pPr>
            <a:lvl4pPr marL="584200" indent="-1778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600"/>
            </a:lvl4pPr>
            <a:lvl5pPr marL="7874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E5225F53-1C15-499B-9179-65E3B2184C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14EA394-D3CD-41FC-B7FF-082F08C15A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22815306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46163072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51847067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665289"/>
            <a:ext cx="6240000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CFBECF-F261-4066-B77C-A1FCF54AA0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6E9BEEDA-6F6F-4BD9-B1D8-9731D1B037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4914539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1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8009483-F3D1-4AD9-8031-CEB4620DB8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1FE75E2-F986-4CD3-8A43-338DEE272C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60393628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59145"/>
            <a:ext cx="3549549" cy="39825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472253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5360361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B36819A-C0CE-4CC8-96BE-D57C8135F44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14F8B0D-4D62-4988-B307-1BB6BBEEC1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3992330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672337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665377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753468-486C-4E44-B97B-3442F4990D23}"/>
              </a:ext>
            </a:extLst>
          </p:cNvPr>
          <p:cNvSpPr/>
          <p:nvPr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4C2095-0900-4569-A109-645CF4777A8D}"/>
              </a:ext>
            </a:extLst>
          </p:cNvPr>
          <p:cNvSpPr/>
          <p:nvPr/>
        </p:nvSpPr>
        <p:spPr>
          <a:xfrm>
            <a:off x="618490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8A3CDF-F5A1-44AC-9648-5A3D0461AB03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8A9EEEA-4AE4-43FE-9262-BC961D83A4C2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E14920E0-BAB9-44E6-A33A-5F4B6E751C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B186F496-8F3D-4D1B-850D-31517B35E6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676016B-595B-4B09-8A9C-981F4092254D}"/>
              </a:ext>
            </a:extLst>
          </p:cNvPr>
          <p:cNvSpPr/>
          <p:nvPr/>
        </p:nvSpPr>
        <p:spPr>
          <a:xfrm>
            <a:off x="618490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8772A29-A091-45EF-9E05-7D38B8B671A6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31A621E-F4F0-40C4-8952-5BF179427ED7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8736193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46190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83703CC-2625-4A3C-9057-35BB359C858C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97003E-0D5A-4199-A9D0-BFB3CBF4A0D4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074C3BE-314B-470C-927B-DBC4A457D9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E8EE9A28-CEAF-410C-B504-E930E2347F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360E003-ECB4-492B-8A94-28433C076FF8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D54539A-8172-4D14-BE07-3622A53C73DF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030650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56702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2" name="Rectangle 11"/>
          <p:cNvSpPr/>
          <p:nvPr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49682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4993" y="4249682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32462FA-7D20-4E6B-9335-5F0CC56925D0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5AF616D-3F67-4FD6-BC16-ABC13A0ACA22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1986DCA-1B97-4EC9-A852-97E5340E26DC}"/>
              </a:ext>
            </a:extLst>
          </p:cNvPr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21E9D44-54F1-4CE7-8FDF-78DC08D29E3F}"/>
              </a:ext>
            </a:extLst>
          </p:cNvPr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CAAD7DA-8C87-4BD9-82C1-81D09B5A7A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9957D34C-FCB8-47FD-97FA-BF6A4F7FE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DE12908D-2FA0-48AB-B2FF-08FF433571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8DB1A9EF-276C-4FE9-B33D-E2267D9DB46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619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2A7C1E0-8314-4B78-902A-0828B984B27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37297" y="4249681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9057B8DE-1E5B-4E78-8FC1-456B14A880F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46194" y="4249681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21492703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4000" y="1700214"/>
            <a:ext cx="356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CD5B122-EABE-4ECA-819A-54D0AA2130F9}"/>
              </a:ext>
            </a:extLst>
          </p:cNvPr>
          <p:cNvSpPr/>
          <p:nvPr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FF78E2E-2B9E-4E32-8A54-BC55293CD3C9}"/>
              </a:ext>
            </a:extLst>
          </p:cNvPr>
          <p:cNvSpPr/>
          <p:nvPr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0F314D-E019-4AD3-B954-818463FF0B9D}"/>
              </a:ext>
            </a:extLst>
          </p:cNvPr>
          <p:cNvSpPr/>
          <p:nvPr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69DF469-1C05-4DC1-B6C9-2712D9E1B8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7DBFC5B-8E23-48FC-97C3-38FCFE625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39EC70-7463-4AC3-840B-4FCA6DF3973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2874" y="1857891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85F1297-532C-478B-8C8C-A7A406ADF2C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25938" y="1861481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72E6BFE1-0779-4417-985A-E1020673A1F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48737" y="1857890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10010096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674087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674087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674087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18"/>
          <p:cNvSpPr>
            <a:spLocks noGrp="1"/>
          </p:cNvSpPr>
          <p:nvPr>
            <p:ph idx="16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7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F15AF63-D425-4D3F-B484-4B7A0F329F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7002A92-1CF7-42F5-B761-7DB3C2CF11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71243039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3B6715C-C932-49B3-880D-8C5710C8F9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EA7B5E5-1F8D-43CD-9AD2-8B87181DC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4036104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1112109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26843676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3895653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with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E9ED29CA-6A60-490D-9D54-EA7CC7AF832C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119E2360-A688-44DF-A6BB-76D18177CC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265C3C7-34A9-47F1-AB5F-2771E18789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A9400861-EDC5-4A80-9569-C20320CE00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4DC9296-DBBC-4C4E-ACB4-7DA2607D5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3E26591B-8E9F-4856-8284-BF3F8DB6AB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43F42271-5510-4D15-B07B-133237928B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00E9FD99-54D9-422B-9717-D0DD3442A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BAF30821-90D3-436A-8DDF-D130E6644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5C1A565D-B22B-4EE2-ACC9-C993D581F0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666738FD-9737-43F5-8E36-896FD725FE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tx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E53F9A5-D017-41A9-87FD-42B8B6C64282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70412374-88D8-4076-97A4-28B9D453A9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059052DC-E283-45E3-A11B-EFC0EF6405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C8E40EE6-74FE-4B63-ADD7-D8251359CC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6D34B50B-2467-467F-BE0D-CA832EE3A7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1004DF0B-038C-4CB4-89B3-42D949ED0B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2FB8C6E0-92EE-49AA-95D9-7BE219F64F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CEE92EC5-3F38-4286-A2DA-7B5E941BC2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3C2CE8EA-279F-441C-99BC-330C664B32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328EA017-C8BA-490A-9F7A-F880FE999A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BAE89DBE-19C8-422A-B7E6-D6726124DF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28" name="Title 1">
            <a:extLst>
              <a:ext uri="{FF2B5EF4-FFF2-40B4-BE49-F238E27FC236}">
                <a16:creationId xmlns:a16="http://schemas.microsoft.com/office/drawing/2014/main" id="{BF939DF8-C67D-4ED5-9DBC-98F2B43BDAEA}"/>
              </a:ext>
            </a:extLst>
          </p:cNvPr>
          <p:cNvSpPr txBox="1">
            <a:spLocks/>
          </p:cNvSpPr>
          <p:nvPr/>
        </p:nvSpPr>
        <p:spPr bwMode="gray">
          <a:xfrm>
            <a:off x="3417931" y="725455"/>
            <a:ext cx="5356735" cy="5356735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vert="horz" lIns="108000" tIns="108000" rIns="108000" bIns="108000" rtlCol="0" anchor="ctr" anchorCtr="0">
            <a:normAutofit/>
          </a:bodyPr>
          <a:lstStyle>
            <a:lvl1pPr algn="ctr" defTabSz="914400" rtl="0" eaLnBrk="1" latinLnBrk="0" hangingPunct="1">
              <a:lnSpc>
                <a:spcPts val="4200"/>
              </a:lnSpc>
              <a:spcBef>
                <a:spcPct val="0"/>
              </a:spcBef>
              <a:buNone/>
              <a:defRPr sz="3600" b="0" kern="120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18845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4879124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2920" y="1665290"/>
            <a:ext cx="11187430" cy="47164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537CC665-FE98-46D6-975E-AFF0AE8ED2C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3BBABC4F-611D-45AA-96CD-C45E11F228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90130027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&amp;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292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4464A84-542A-4D1A-8583-EEE0342E31D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12EEE0C-4EE5-49C0-A99D-660B1A86B5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62253719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665290"/>
            <a:ext cx="6084213" cy="471646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2920" y="1665290"/>
            <a:ext cx="4333663" cy="4716460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9D06B49-E6E5-4392-8EA1-B30AAFBED17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E531D209-151A-482F-AB69-497D00F558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92591408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5712" y="1851441"/>
            <a:ext cx="3540577" cy="3845754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60000" cy="3845754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28000" y="1851441"/>
            <a:ext cx="3571153" cy="3845754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69DF469-1C05-4DC1-B6C9-2712D9E1B8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7DBFC5B-8E23-48FC-97C3-38FCFE625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3CD5844-47E7-4F53-AA86-AC151A6DAE0F}"/>
              </a:ext>
            </a:extLst>
          </p:cNvPr>
          <p:cNvSpPr/>
          <p:nvPr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FB1E0F0-C8EC-4021-A4CD-FBE449C92EF7}"/>
              </a:ext>
            </a:extLst>
          </p:cNvPr>
          <p:cNvSpPr/>
          <p:nvPr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EBB15F7-AD41-43E6-8AA9-C473BE405C8C}"/>
              </a:ext>
            </a:extLst>
          </p:cNvPr>
          <p:cNvSpPr/>
          <p:nvPr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6775728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EA7B5E5-1F8D-43CD-9AD2-8B87181DC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D0DD3CDC-03F0-45B8-ACB9-85646491556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78453332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2920" y="2556000"/>
            <a:ext cx="2592000" cy="3394800"/>
          </a:xfrm>
        </p:spPr>
        <p:txBody>
          <a:bodyPr/>
          <a:lstStyle>
            <a:lvl1pPr marL="0" indent="0">
              <a:defRPr b="1">
                <a:solidFill>
                  <a:schemeClr val="bg1"/>
                </a:solidFill>
                <a:latin typeface="+mj-lt"/>
              </a:defRPr>
            </a:lvl1pPr>
            <a:lvl2pPr marL="139700" indent="-1397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304800" indent="-1397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69900" indent="-1397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635000" indent="-1397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 marL="0" indent="0">
              <a:defRPr b="1">
                <a:solidFill>
                  <a:schemeClr val="bg1"/>
                </a:solidFill>
                <a:latin typeface="+mj-lt"/>
              </a:defRPr>
            </a:lvl1pPr>
            <a:lvl2pPr marL="139700" indent="-1397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304800" indent="-1397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69900" indent="-1397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635000" indent="-1397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 marL="0" indent="0">
              <a:defRPr b="1">
                <a:solidFill>
                  <a:schemeClr val="bg1"/>
                </a:solidFill>
                <a:latin typeface="+mj-lt"/>
              </a:defRPr>
            </a:lvl1pPr>
            <a:lvl2pPr marL="139700" indent="-1397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304800" indent="-1397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69900" indent="-1397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635000" indent="-1397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 marL="0" indent="0">
              <a:defRPr b="1">
                <a:solidFill>
                  <a:schemeClr val="bg1"/>
                </a:solidFill>
                <a:latin typeface="+mj-lt"/>
              </a:defRPr>
            </a:lvl1pPr>
            <a:lvl2pPr marL="139700" indent="-1397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304800" indent="-1397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69900" indent="-1397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635000" indent="-1397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  <a:endParaRPr lang="en-US" noProof="0" dirty="0"/>
          </a:p>
        </p:txBody>
      </p:sp>
      <p:sp>
        <p:nvSpPr>
          <p:cNvPr id="11" name="CaseCode">
            <a:extLst>
              <a:ext uri="{FF2B5EF4-FFF2-40B4-BE49-F238E27FC236}">
                <a16:creationId xmlns:a16="http://schemas.microsoft.com/office/drawing/2014/main" id="{676B7924-6A82-4453-9ABA-42AE71384BDC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ED0B00A8-5B86-4AFE-8884-819CF7356AAE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0 Deloitte The Netherland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BBEDB2-39B5-4D4C-AA82-85ED607FAC3B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8374288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56702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49682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4993" y="4249682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CAAD7DA-8C87-4BD9-82C1-81D09B5A7A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9957D34C-FCB8-47FD-97FA-BF6A4F7FE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03400EF-52A1-4F49-9A72-7AAA7A3E2109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07EBD73-619B-4083-AA58-A9B7F851FABB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936D0BF-951E-4BCD-8E21-2F3F2629B1BE}"/>
              </a:ext>
            </a:extLst>
          </p:cNvPr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87004E2-4A82-478A-BFDB-7103ADDD0F56}"/>
              </a:ext>
            </a:extLst>
          </p:cNvPr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0D485CFD-E778-438B-9F95-AA857AF5CA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2064" y="1856232"/>
            <a:ext cx="5533695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995C2BA-4183-48F4-92D9-4620CCDF5C1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166929" y="1847618"/>
            <a:ext cx="5533695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2DC3B9DA-0A51-491C-923B-09D36118ADA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8732" y="4256623"/>
            <a:ext cx="5533695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70BD43BA-DF89-409F-B9BF-2853EC35826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65458" y="4256623"/>
            <a:ext cx="5533695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95877974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FBFB952-2833-4770-B558-09EBDEAF8429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304A3004-86B0-4C46-8FB4-FC9E45DC48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28CD1CC6-61E4-4EA8-BD04-0FA5CC6C63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BDCC14FC-1DA8-4071-A1E9-5623D428D0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3BCD6035-CB07-42B5-B50C-6B88DB0441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46223369-9753-4851-8485-49FD758052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6C9EF874-254F-48B5-ABBC-6AB12E52A3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4EF4D6BB-7A38-422E-A209-8429CB5CA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E7FF38AF-351F-43A5-9C50-A18F3A7A5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23334D6B-5EE0-41DA-AEBA-6C8F35E7D6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F9A8AD37-1780-42CD-B3E6-3FF418FA05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605327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0918623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670834"/>
            <a:ext cx="105410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19267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>
              <a:buFontTx/>
              <a:buNone/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05481275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64329726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 sz="1600"/>
            </a:lvl1pPr>
            <a:lvl2pPr marL="177800" indent="-1778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600"/>
            </a:lvl2pPr>
            <a:lvl3pPr marL="3810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600"/>
            </a:lvl3pPr>
            <a:lvl4pPr marL="584200" indent="-1778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600"/>
            </a:lvl4pPr>
            <a:lvl5pPr marL="7874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 sz="1600"/>
            </a:lvl1pPr>
            <a:lvl2pPr marL="177800" indent="-1778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600"/>
            </a:lvl2pPr>
            <a:lvl3pPr marL="3810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600"/>
            </a:lvl3pPr>
            <a:lvl4pPr marL="584200" indent="-1778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600"/>
            </a:lvl4pPr>
            <a:lvl5pPr marL="7874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E5225F53-1C15-499B-9179-65E3B2184C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14EA394-D3CD-41FC-B7FF-082F08C15A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98077201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63804231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1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10129962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665289"/>
            <a:ext cx="6240000" cy="471646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CFBECF-F261-4066-B77C-A1FCF54AA0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6E9BEEDA-6F6F-4BD9-B1D8-9731D1B037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83823704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1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8009483-F3D1-4AD9-8031-CEB4620DB8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1FE75E2-F986-4CD3-8A43-338DEE272C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49386689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59145"/>
            <a:ext cx="3549549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59145"/>
            <a:ext cx="3549549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59145"/>
            <a:ext cx="3549549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78375413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B36819A-C0CE-4CC8-96BE-D57C8135F44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14F8B0D-4D62-4988-B307-1BB6BBEEC1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05553390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672337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665377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45377"/>
            <a:ext cx="32880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45377"/>
            <a:ext cx="3302592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753468-486C-4E44-B97B-3442F4990D23}"/>
              </a:ext>
            </a:extLst>
          </p:cNvPr>
          <p:cNvSpPr/>
          <p:nvPr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4C2095-0900-4569-A109-645CF4777A8D}"/>
              </a:ext>
            </a:extLst>
          </p:cNvPr>
          <p:cNvSpPr/>
          <p:nvPr/>
        </p:nvSpPr>
        <p:spPr>
          <a:xfrm>
            <a:off x="618490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8A3CDF-F5A1-44AC-9648-5A3D0461AB03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8A9EEEA-4AE4-43FE-9262-BC961D83A4C2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E14920E0-BAB9-44E6-A33A-5F4B6E751C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B186F496-8F3D-4D1B-850D-31517B35E6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4095459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452A60FA-C95E-401E-9AF3-D27C8C88BCCB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32543E-E807-47A4-A234-D5C7012187B4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4F2D29F-D256-48DF-93EB-3649C0F15C84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Fußzeilenplatzhalter 7">
            <a:extLst>
              <a:ext uri="{FF2B5EF4-FFF2-40B4-BE49-F238E27FC236}">
                <a16:creationId xmlns:a16="http://schemas.microsoft.com/office/drawing/2014/main" id="{3B3358C5-C333-4E52-A2AA-5D9CBE5616FB}"/>
              </a:ext>
            </a:extLst>
          </p:cNvPr>
          <p:cNvSpPr txBox="1">
            <a:spLocks/>
          </p:cNvSpPr>
          <p:nvPr/>
        </p:nvSpPr>
        <p:spPr>
          <a:xfrm>
            <a:off x="502862" y="6473834"/>
            <a:ext cx="1782112" cy="153961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en-GB" sz="900" dirty="0">
                <a:solidFill>
                  <a:schemeClr val="bg1"/>
                </a:solidFill>
              </a:rPr>
              <a:t>© </a:t>
            </a:r>
            <a:r>
              <a:rPr lang="en-US" sz="900" dirty="0">
                <a:solidFill>
                  <a:schemeClr val="bg1"/>
                </a:solidFill>
              </a:rPr>
              <a:t>2020 Deloitte The Netherlands</a:t>
            </a:r>
          </a:p>
        </p:txBody>
      </p:sp>
    </p:spTree>
    <p:extLst>
      <p:ext uri="{BB962C8B-B14F-4D97-AF65-F5344CB8AC3E}">
        <p14:creationId xmlns:p14="http://schemas.microsoft.com/office/powerpoint/2010/main" val="2360439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46190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83703CC-2625-4A3C-9057-35BB359C858C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97003E-0D5A-4199-A9D0-BFB3CBF4A0D4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074C3BE-314B-470C-927B-DBC4A457D9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E8EE9A28-CEAF-410C-B504-E930E2347F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7342015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56702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2" name="Rectangle 11"/>
          <p:cNvSpPr/>
          <p:nvPr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49682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4993" y="4249682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32462FA-7D20-4E6B-9335-5F0CC56925D0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5AF616D-3F67-4FD6-BC16-ABC13A0ACA22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1986DCA-1B97-4EC9-A852-97E5340E26DC}"/>
              </a:ext>
            </a:extLst>
          </p:cNvPr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21E9D44-54F1-4CE7-8FDF-78DC08D29E3F}"/>
              </a:ext>
            </a:extLst>
          </p:cNvPr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CAAD7DA-8C87-4BD9-82C1-81D09B5A7A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9957D34C-FCB8-47FD-97FA-BF6A4F7FE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C0C507E7-B81B-4C48-A5AA-EB230230297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A4B9D944-7F4E-42D4-8A84-43402BC40F0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3B7D15E-E3BF-4AE0-B657-86BF4076BE3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47075" y="4251853"/>
            <a:ext cx="5466824" cy="1695450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960D4485-EAA8-48B3-931F-31B5CEB3E67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80396" y="4251853"/>
            <a:ext cx="5444156" cy="1695450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83396586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4000" y="1700214"/>
            <a:ext cx="356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CD5B122-EABE-4ECA-819A-54D0AA2130F9}"/>
              </a:ext>
            </a:extLst>
          </p:cNvPr>
          <p:cNvSpPr/>
          <p:nvPr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FF78E2E-2B9E-4E32-8A54-BC55293CD3C9}"/>
              </a:ext>
            </a:extLst>
          </p:cNvPr>
          <p:cNvSpPr/>
          <p:nvPr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0F314D-E019-4AD3-B954-818463FF0B9D}"/>
              </a:ext>
            </a:extLst>
          </p:cNvPr>
          <p:cNvSpPr/>
          <p:nvPr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69DF469-1C05-4DC1-B6C9-2712D9E1B8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7DBFC5B-8E23-48FC-97C3-38FCFE625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68D44A10-A1BE-4B60-89A4-889D08B8B34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3584464" cy="4265506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9F52FC78-7A4E-4367-9DA3-28A234B39DF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20000" y="1897258"/>
            <a:ext cx="3556117" cy="4226140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2D6B6D6E-986C-4D4B-8630-4EBB5F79C2A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77084" y="1897258"/>
            <a:ext cx="3556117" cy="4226140"/>
          </a:xfrm>
        </p:spPr>
        <p:txBody>
          <a:bodyPr/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34880765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674087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674087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674087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F15AF63-D425-4D3F-B484-4B7A0F329F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7002A92-1CF7-42F5-B761-7DB3C2CF11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38358794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3B6715C-C932-49B3-880D-8C5710C8F9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EA7B5E5-1F8D-43CD-9AD2-8B87181DC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0826940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41429930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77973378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95057264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85020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421626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E8E60749-A3E0-4E09-BF50-6D6B361BEF91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0 Deloitte The Netherland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C15CF50B-B21A-4219-A2F3-42CE64720300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6403AF-FAB8-425F-B7B3-1CED91E5B09F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95099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0FF0C0-FC1A-4C5B-9FE5-09BA33FF7E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56392" y="1398181"/>
            <a:ext cx="7134446" cy="2870791"/>
          </a:xfrm>
        </p:spPr>
        <p:txBody>
          <a:bodyPr anchor="ctr">
            <a:normAutofit/>
          </a:bodyPr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E989092-15F8-4341-8D94-9E799301C5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70835" y="5135527"/>
            <a:ext cx="4397164" cy="1057938"/>
          </a:xfrm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97328B-E858-4921-99C2-3B0BE1724C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691109-F4F8-4597-962C-A4F4B7960636}" type="datetimeFigureOut">
              <a:rPr lang="en-US" smtClean="0"/>
              <a:t>7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381296-9B7B-4EF3-89B3-8B33E6070F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C2FE59-6CD1-4D0F-8A06-10CA2D3836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7FAD9F-AEE9-406E-B720-57D2B9DB28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866912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CAC77D-9BA0-4A3B-B823-2059DC3C3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B811DB-C16F-4CED-97C6-73ABD71F33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E14D3C-7343-4DD7-B816-0D4D66BD61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691109-F4F8-4597-962C-A4F4B7960636}" type="datetimeFigureOut">
              <a:rPr lang="en-US" smtClean="0"/>
              <a:t>7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2409C8-4D7C-40EE-A12E-59CB555C72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1222D5-7193-4F59-83B4-3C19E8B149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7FAD9F-AEE9-406E-B720-57D2B9DB28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43679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- Deloitte green accent 1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F5DA332A-5FDA-44BD-83A8-C1B461175217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AEF67F89-55D5-4B02-B284-7F2FE86B67EB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0 Deloitte The Netherland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4481A36-3B74-4C1E-8A6A-DD33D090818C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466834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- Deloitte green accent 2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417FACB0-195F-4DAB-9FD5-772A304E9FB3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3822DAB5-ADF4-4108-87C8-45273001E73C}"/>
              </a:ext>
            </a:extLst>
          </p:cNvPr>
          <p:cNvSpPr txBox="1"/>
          <p:nvPr/>
        </p:nvSpPr>
        <p:spPr>
          <a:xfrm>
            <a:off x="501649" y="6477001"/>
            <a:ext cx="535516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0 Deloitte The Netherland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BED4A0F-4987-4CDD-BB19-D8051E48E570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49432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73"/>
            </p:custDataLst>
            <p:extLst>
              <p:ext uri="{D42A27DB-BD31-4B8C-83A1-F6EECF244321}">
                <p14:modId xmlns:p14="http://schemas.microsoft.com/office/powerpoint/2010/main" val="265430611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5" imgW="270" imgH="270" progId="TCLayout.ActiveDocument.1">
                  <p:embed/>
                </p:oleObj>
              </mc:Choice>
              <mc:Fallback>
                <p:oleObj name="think-cell Slide" r:id="rId7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23BE577-EFA2-46BE-A53B-7042E644C53E}"/>
              </a:ext>
            </a:extLst>
          </p:cNvPr>
          <p:cNvSpPr/>
          <p:nvPr>
            <p:custDataLst>
              <p:tags r:id="rId7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6000"/>
              </a:lnSpc>
              <a:buFont typeface="Wingdings 2" pitchFamily="18" charset="2"/>
              <a:buNone/>
            </a:pPr>
            <a:endParaRPr lang="en-US" sz="2100" b="0" i="0" baseline="0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Calibri Light" panose="020F03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/>
        </p:nvSpPr>
        <p:spPr>
          <a:xfrm>
            <a:off x="11384280" y="6473952"/>
            <a:ext cx="134652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191659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  <p:sldLayoutId id="2147483765" r:id="rId26"/>
    <p:sldLayoutId id="2147483766" r:id="rId27"/>
    <p:sldLayoutId id="2147483767" r:id="rId28"/>
    <p:sldLayoutId id="2147483768" r:id="rId29"/>
    <p:sldLayoutId id="2147483769" r:id="rId30"/>
    <p:sldLayoutId id="2147483770" r:id="rId31"/>
    <p:sldLayoutId id="2147483771" r:id="rId32"/>
    <p:sldLayoutId id="2147483772" r:id="rId33"/>
    <p:sldLayoutId id="2147483773" r:id="rId34"/>
    <p:sldLayoutId id="2147483774" r:id="rId35"/>
    <p:sldLayoutId id="2147483775" r:id="rId36"/>
    <p:sldLayoutId id="2147483776" r:id="rId37"/>
    <p:sldLayoutId id="2147483777" r:id="rId38"/>
    <p:sldLayoutId id="2147483778" r:id="rId39"/>
    <p:sldLayoutId id="2147483779" r:id="rId40"/>
    <p:sldLayoutId id="2147483780" r:id="rId41"/>
    <p:sldLayoutId id="2147483781" r:id="rId42"/>
    <p:sldLayoutId id="2147483782" r:id="rId43"/>
    <p:sldLayoutId id="2147483783" r:id="rId44"/>
    <p:sldLayoutId id="2147483784" r:id="rId45"/>
    <p:sldLayoutId id="2147483785" r:id="rId46"/>
    <p:sldLayoutId id="2147483786" r:id="rId47"/>
    <p:sldLayoutId id="2147483787" r:id="rId48"/>
    <p:sldLayoutId id="2147483788" r:id="rId49"/>
    <p:sldLayoutId id="2147483789" r:id="rId50"/>
    <p:sldLayoutId id="2147483790" r:id="rId51"/>
    <p:sldLayoutId id="2147483791" r:id="rId52"/>
    <p:sldLayoutId id="2147483792" r:id="rId53"/>
    <p:sldLayoutId id="2147483793" r:id="rId54"/>
    <p:sldLayoutId id="2147483794" r:id="rId55"/>
    <p:sldLayoutId id="2147483795" r:id="rId56"/>
    <p:sldLayoutId id="2147483796" r:id="rId57"/>
    <p:sldLayoutId id="2147483797" r:id="rId58"/>
    <p:sldLayoutId id="2147483798" r:id="rId59"/>
    <p:sldLayoutId id="2147483799" r:id="rId60"/>
    <p:sldLayoutId id="2147483800" r:id="rId61"/>
    <p:sldLayoutId id="2147483801" r:id="rId62"/>
    <p:sldLayoutId id="2147483802" r:id="rId63"/>
    <p:sldLayoutId id="2147483803" r:id="rId64"/>
    <p:sldLayoutId id="2147483804" r:id="rId65"/>
    <p:sldLayoutId id="2147483805" r:id="rId66"/>
    <p:sldLayoutId id="2147483806" r:id="rId67"/>
    <p:sldLayoutId id="2147483807" r:id="rId68"/>
    <p:sldLayoutId id="2147483808" r:id="rId69"/>
    <p:sldLayoutId id="2147483809" r:id="rId70"/>
    <p:sldLayoutId id="2147483810" r:id="rId71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12">
          <p15:clr>
            <a:srgbClr val="F26B43"/>
          </p15:clr>
        </p15:guide>
        <p15:guide id="3" pos="1392">
          <p15:clr>
            <a:srgbClr val="F26B43"/>
          </p15:clr>
        </p15:guide>
        <p15:guide id="4" pos="1512">
          <p15:clr>
            <a:srgbClr val="F26B43"/>
          </p15:clr>
        </p15:guide>
        <p15:guide id="5" pos="2592">
          <p15:clr>
            <a:srgbClr val="F26B43"/>
          </p15:clr>
        </p15:guide>
        <p15:guide id="6" pos="2712">
          <p15:clr>
            <a:srgbClr val="F26B43"/>
          </p15:clr>
        </p15:guide>
        <p15:guide id="7" pos="3768">
          <p15:clr>
            <a:srgbClr val="F26B43"/>
          </p15:clr>
        </p15:guide>
        <p15:guide id="8" pos="7368">
          <p15:clr>
            <a:srgbClr val="F26B43"/>
          </p15:clr>
        </p15:guide>
        <p15:guide id="9" pos="6288">
          <p15:clr>
            <a:srgbClr val="F26B43"/>
          </p15:clr>
        </p15:guide>
        <p15:guide id="10" pos="6168">
          <p15:clr>
            <a:srgbClr val="F26B43"/>
          </p15:clr>
        </p15:guide>
        <p15:guide id="11" pos="5088">
          <p15:clr>
            <a:srgbClr val="F26B43"/>
          </p15:clr>
        </p15:guide>
        <p15:guide id="12" pos="4968">
          <p15:clr>
            <a:srgbClr val="F26B43"/>
          </p15:clr>
        </p15:guide>
        <p15:guide id="13" pos="3912">
          <p15:clr>
            <a:srgbClr val="F26B43"/>
          </p15:clr>
        </p15:guide>
        <p15:guide id="14" orient="horz" pos="4104">
          <p15:clr>
            <a:srgbClr val="F26B43"/>
          </p15:clr>
        </p15:guide>
        <p15:guide id="15" orient="horz" pos="4032">
          <p15:clr>
            <a:srgbClr val="F26B43"/>
          </p15:clr>
        </p15:guide>
        <p15:guide id="16" orient="horz" pos="2232">
          <p15:clr>
            <a:srgbClr val="F26B43"/>
          </p15:clr>
        </p15:guide>
        <p15:guide id="17" orient="horz" pos="1056">
          <p15:clr>
            <a:srgbClr val="F26B43"/>
          </p15:clr>
        </p15:guide>
        <p15:guide id="18" orient="horz" pos="19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70.xml"/><Relationship Id="rId1" Type="http://schemas.openxmlformats.org/officeDocument/2006/relationships/tags" Target="../tags/tag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13" Type="http://schemas.openxmlformats.org/officeDocument/2006/relationships/image" Target="../media/image12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.png"/><Relationship Id="rId12" Type="http://schemas.openxmlformats.org/officeDocument/2006/relationships/image" Target="../media/image11.jpeg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5.xml"/><Relationship Id="rId6" Type="http://schemas.openxmlformats.org/officeDocument/2006/relationships/image" Target="../media/image5.jpeg"/><Relationship Id="rId11" Type="http://schemas.openxmlformats.org/officeDocument/2006/relationships/image" Target="../media/image10.png"/><Relationship Id="rId5" Type="http://schemas.openxmlformats.org/officeDocument/2006/relationships/image" Target="../media/image3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1.xml"/><Relationship Id="rId1" Type="http://schemas.openxmlformats.org/officeDocument/2006/relationships/tags" Target="../tags/tag6.xml"/><Relationship Id="rId6" Type="http://schemas.openxmlformats.org/officeDocument/2006/relationships/image" Target="../media/image13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1.xml"/><Relationship Id="rId1" Type="http://schemas.openxmlformats.org/officeDocument/2006/relationships/tags" Target="../tags/tag7.xml"/><Relationship Id="rId6" Type="http://schemas.openxmlformats.org/officeDocument/2006/relationships/image" Target="../media/image13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1.xml"/><Relationship Id="rId1" Type="http://schemas.openxmlformats.org/officeDocument/2006/relationships/tags" Target="../tags/tag8.xml"/><Relationship Id="rId6" Type="http://schemas.openxmlformats.org/officeDocument/2006/relationships/image" Target="../media/image13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1.xml"/><Relationship Id="rId1" Type="http://schemas.openxmlformats.org/officeDocument/2006/relationships/tags" Target="../tags/tag9.xml"/><Relationship Id="rId6" Type="http://schemas.openxmlformats.org/officeDocument/2006/relationships/image" Target="../media/image13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1.xml"/><Relationship Id="rId1" Type="http://schemas.openxmlformats.org/officeDocument/2006/relationships/tags" Target="../tags/tag10.xml"/><Relationship Id="rId6" Type="http://schemas.openxmlformats.org/officeDocument/2006/relationships/image" Target="../media/image13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alphaModFix amt="89000"/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23DE251-A85F-7E6A-5B5F-0C8B715F98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8944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3DE251-A85F-7E6A-5B5F-0C8B715F9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arallelogram 4">
            <a:extLst>
              <a:ext uri="{FF2B5EF4-FFF2-40B4-BE49-F238E27FC236}">
                <a16:creationId xmlns:a16="http://schemas.microsoft.com/office/drawing/2014/main" id="{4FA8EC76-8992-6EB7-D493-FFD4BE27F103}"/>
              </a:ext>
            </a:extLst>
          </p:cNvPr>
          <p:cNvSpPr/>
          <p:nvPr/>
        </p:nvSpPr>
        <p:spPr bwMode="gray">
          <a:xfrm>
            <a:off x="-3226203" y="0"/>
            <a:ext cx="9876610" cy="6858000"/>
          </a:xfrm>
          <a:prstGeom prst="parallelogram">
            <a:avLst/>
          </a:prstGeom>
          <a:solidFill>
            <a:schemeClr val="bg1">
              <a:lumMod val="100000"/>
              <a:alpha val="72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2F170F2-B9C4-0AD8-C17B-03D27E97D1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7748" y="2900740"/>
            <a:ext cx="4339422" cy="157164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</a:extLst>
        </p:spPr>
        <p:txBody>
          <a:bodyPr vert="horz" anchor="t">
            <a:normAutofit/>
          </a:bodyPr>
          <a:lstStyle/>
          <a:p>
            <a:pPr algn="l"/>
            <a:r>
              <a:rPr lang="en-NL" sz="6000" b="1" dirty="0">
                <a:solidFill>
                  <a:schemeClr val="tx1">
                    <a:lumMod val="10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xForm</a:t>
            </a:r>
            <a:br>
              <a:rPr lang="en-NL" sz="6000" b="1" dirty="0">
                <a:solidFill>
                  <a:schemeClr val="tx1">
                    <a:lumMod val="10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sz="2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y wasn’t there before</a:t>
            </a:r>
            <a:r>
              <a:rPr lang="nl-NL" sz="2800" dirty="0">
                <a:solidFill>
                  <a:schemeClr val="tx1">
                    <a:lumMod val="10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?</a:t>
            </a:r>
            <a:endParaRPr lang="en-NL" sz="3600" dirty="0">
              <a:solidFill>
                <a:schemeClr val="tx1">
                  <a:lumMod val="10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026" name="Picture 2" descr="ETHGlobal Paris">
            <a:extLst>
              <a:ext uri="{FF2B5EF4-FFF2-40B4-BE49-F238E27FC236}">
                <a16:creationId xmlns:a16="http://schemas.microsoft.com/office/drawing/2014/main" id="{33C0031A-5E74-D254-8FAE-D6EE1C3A5A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748" y="438844"/>
            <a:ext cx="2711495" cy="930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ubtitle 2">
            <a:extLst>
              <a:ext uri="{FF2B5EF4-FFF2-40B4-BE49-F238E27FC236}">
                <a16:creationId xmlns:a16="http://schemas.microsoft.com/office/drawing/2014/main" id="{33D7F797-078C-69BB-7210-BD9333212276}"/>
              </a:ext>
            </a:extLst>
          </p:cNvPr>
          <p:cNvSpPr txBox="1">
            <a:spLocks/>
          </p:cNvSpPr>
          <p:nvPr/>
        </p:nvSpPr>
        <p:spPr>
          <a:xfrm>
            <a:off x="495300" y="6346519"/>
            <a:ext cx="2994349" cy="33716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3200" b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defRPr lang="en-US" sz="2000" b="1" kern="120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13716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1828800" indent="0" algn="ctr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22860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oen Schuite, Nick</a:t>
            </a:r>
            <a:endParaRPr lang="en-NL" sz="16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01101B-B3B2-22CC-A3AD-124CB9BCFDB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748" y="6003618"/>
            <a:ext cx="2994349" cy="337161"/>
          </a:xfrm>
        </p:spPr>
        <p:txBody>
          <a:bodyPr anchor="t">
            <a:normAutofit/>
          </a:bodyPr>
          <a:lstStyle/>
          <a:p>
            <a:r>
              <a:rPr lang="nl-NL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3 </a:t>
            </a:r>
            <a:r>
              <a:rPr lang="nl-NL" sz="160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uly</a:t>
            </a:r>
            <a:r>
              <a:rPr lang="nl-NL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2023</a:t>
            </a:r>
            <a:endParaRPr lang="en-NL" sz="16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439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D0B273B-9D00-21CB-1F4D-57ACDEF9AA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8917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78ED38C-3613-9D37-9A07-951407AE60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931" y="600532"/>
            <a:ext cx="11188700" cy="334099"/>
          </a:xfrm>
        </p:spPr>
        <p:txBody>
          <a:bodyPr vert="horz"/>
          <a:lstStyle/>
          <a:p>
            <a:r>
              <a:rPr lang="en-NL" sz="32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chniques and partners</a:t>
            </a:r>
          </a:p>
        </p:txBody>
      </p:sp>
      <p:pic>
        <p:nvPicPr>
          <p:cNvPr id="1026" name="Picture 2" descr="logo">
            <a:extLst>
              <a:ext uri="{FF2B5EF4-FFF2-40B4-BE49-F238E27FC236}">
                <a16:creationId xmlns:a16="http://schemas.microsoft.com/office/drawing/2014/main" id="{944BEEAD-622E-B49D-A30C-7A494B5AF3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8956" y="1870365"/>
            <a:ext cx="861344" cy="861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logo">
            <a:extLst>
              <a:ext uri="{FF2B5EF4-FFF2-40B4-BE49-F238E27FC236}">
                <a16:creationId xmlns:a16="http://schemas.microsoft.com/office/drawing/2014/main" id="{509890B3-0795-0491-B36F-7401EB44FA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89" t="11660" r="19165" b="2927"/>
          <a:stretch/>
        </p:blipFill>
        <p:spPr bwMode="auto">
          <a:xfrm>
            <a:off x="4135752" y="1761242"/>
            <a:ext cx="959269" cy="1202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logo">
            <a:extLst>
              <a:ext uri="{FF2B5EF4-FFF2-40B4-BE49-F238E27FC236}">
                <a16:creationId xmlns:a16="http://schemas.microsoft.com/office/drawing/2014/main" id="{977BBE0B-C19A-4EB1-3114-B020964AF7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5857" y="1870365"/>
            <a:ext cx="861344" cy="861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BA67524-DA34-44AE-99FF-2BC04603FA9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27202" y="1870365"/>
            <a:ext cx="861344" cy="861344"/>
          </a:xfrm>
          <a:prstGeom prst="rect">
            <a:avLst/>
          </a:prstGeom>
        </p:spPr>
      </p:pic>
      <p:pic>
        <p:nvPicPr>
          <p:cNvPr id="1032" name="Picture 8" descr="prize image">
            <a:extLst>
              <a:ext uri="{FF2B5EF4-FFF2-40B4-BE49-F238E27FC236}">
                <a16:creationId xmlns:a16="http://schemas.microsoft.com/office/drawing/2014/main" id="{F4D6C5E5-7ACB-4BFD-771D-562E556339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8956" y="4178662"/>
            <a:ext cx="861344" cy="861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1E3CA8B-D720-7C77-6829-0D5B8845A04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200300" y="4178662"/>
            <a:ext cx="861344" cy="861344"/>
          </a:xfrm>
          <a:prstGeom prst="rect">
            <a:avLst/>
          </a:prstGeom>
        </p:spPr>
      </p:pic>
      <p:pic>
        <p:nvPicPr>
          <p:cNvPr id="1034" name="Picture 10" descr="logo">
            <a:extLst>
              <a:ext uri="{FF2B5EF4-FFF2-40B4-BE49-F238E27FC236}">
                <a16:creationId xmlns:a16="http://schemas.microsoft.com/office/drawing/2014/main" id="{45C676DA-318A-200C-D009-7188D949FE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5857" y="4178662"/>
            <a:ext cx="861344" cy="861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CF394E6-0937-A7CC-F06B-A0C734E84EF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727202" y="4178662"/>
            <a:ext cx="861344" cy="86134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298E8AC-1454-6749-552D-DDE380A7C642}"/>
              </a:ext>
            </a:extLst>
          </p:cNvPr>
          <p:cNvSpPr txBox="1">
            <a:spLocks/>
          </p:cNvSpPr>
          <p:nvPr/>
        </p:nvSpPr>
        <p:spPr>
          <a:xfrm>
            <a:off x="1538956" y="3087813"/>
            <a:ext cx="1759942" cy="3961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300"/>
              </a:spcAft>
              <a:buSzPct val="100000"/>
            </a:pPr>
            <a:r>
              <a:rPr lang="nl-NL" sz="1200" dirty="0">
                <a:solidFill>
                  <a:schemeClr val="tx1">
                    <a:lumMod val="10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</a:t>
            </a:r>
            <a:r>
              <a:rPr lang="en-NL" sz="1200" b="0" dirty="0">
                <a:solidFill>
                  <a:schemeClr val="tx1">
                    <a:lumMod val="10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count validation </a:t>
            </a:r>
            <a:r>
              <a:rPr lang="nl-NL" sz="1200" b="0" dirty="0">
                <a:solidFill>
                  <a:schemeClr val="tx1">
                    <a:lumMod val="10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&amp;</a:t>
            </a:r>
            <a:r>
              <a:rPr lang="en-NL" sz="1200" b="0" dirty="0">
                <a:solidFill>
                  <a:schemeClr val="tx1">
                    <a:lumMod val="10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nl-NL" sz="1200" b="0" dirty="0" err="1">
                <a:solidFill>
                  <a:schemeClr val="tx1">
                    <a:lumMod val="10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onymity</a:t>
            </a:r>
            <a:endParaRPr lang="en-US" sz="1200" dirty="0">
              <a:solidFill>
                <a:schemeClr val="tx1">
                  <a:lumMod val="10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53D5F68-5462-1D02-4B72-2F71869A6A41}"/>
              </a:ext>
            </a:extLst>
          </p:cNvPr>
          <p:cNvSpPr txBox="1">
            <a:spLocks/>
          </p:cNvSpPr>
          <p:nvPr/>
        </p:nvSpPr>
        <p:spPr>
          <a:xfrm>
            <a:off x="1538956" y="2802633"/>
            <a:ext cx="115711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NL" sz="18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smo</a:t>
            </a:r>
            <a:endParaRPr lang="en-US" b="1" dirty="0">
              <a:solidFill>
                <a:srgbClr val="31313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ACDBA83-0ED6-E9CF-9B30-B584AEE6E6F9}"/>
              </a:ext>
            </a:extLst>
          </p:cNvPr>
          <p:cNvSpPr txBox="1">
            <a:spLocks/>
          </p:cNvSpPr>
          <p:nvPr/>
        </p:nvSpPr>
        <p:spPr>
          <a:xfrm>
            <a:off x="4200300" y="2802633"/>
            <a:ext cx="15123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nl-NL" sz="1800" b="1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iconomy</a:t>
            </a:r>
            <a:endParaRPr lang="en-US" b="1" dirty="0">
              <a:solidFill>
                <a:srgbClr val="31313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AE5D389-A949-7729-925B-661E4168941A}"/>
              </a:ext>
            </a:extLst>
          </p:cNvPr>
          <p:cNvSpPr txBox="1">
            <a:spLocks/>
          </p:cNvSpPr>
          <p:nvPr/>
        </p:nvSpPr>
        <p:spPr>
          <a:xfrm>
            <a:off x="4200300" y="3087813"/>
            <a:ext cx="1759942" cy="1930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300"/>
              </a:spcAft>
              <a:buSzPct val="100000"/>
            </a:pPr>
            <a:r>
              <a:rPr lang="nl-NL" sz="1200" dirty="0">
                <a:solidFill>
                  <a:schemeClr val="tx1">
                    <a:lumMod val="10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asless transactions</a:t>
            </a:r>
            <a:endParaRPr lang="en-US" sz="1200" dirty="0">
              <a:solidFill>
                <a:schemeClr val="tx1">
                  <a:lumMod val="10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A1B4B81-2E2F-F62C-24B7-018B749A8D76}"/>
              </a:ext>
            </a:extLst>
          </p:cNvPr>
          <p:cNvSpPr txBox="1">
            <a:spLocks/>
          </p:cNvSpPr>
          <p:nvPr/>
        </p:nvSpPr>
        <p:spPr>
          <a:xfrm>
            <a:off x="7065857" y="3087813"/>
            <a:ext cx="1759942" cy="3952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300"/>
              </a:spcAft>
              <a:buSzPct val="100000"/>
            </a:pPr>
            <a:r>
              <a:rPr lang="nl-NL" sz="1200" dirty="0">
                <a:solidFill>
                  <a:schemeClr val="tx1">
                    <a:lumMod val="10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ta </a:t>
            </a:r>
            <a:r>
              <a:rPr lang="nl-NL" sz="1200" dirty="0" err="1">
                <a:solidFill>
                  <a:schemeClr val="tx1">
                    <a:lumMod val="10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uality</a:t>
            </a:r>
            <a:r>
              <a:rPr lang="nl-NL" sz="1200" dirty="0">
                <a:solidFill>
                  <a:schemeClr val="tx1">
                    <a:lumMod val="10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&amp;</a:t>
            </a:r>
            <a:br>
              <a:rPr lang="nl-NL" sz="1200" dirty="0">
                <a:solidFill>
                  <a:schemeClr val="tx1">
                    <a:lumMod val="10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sz="1200" dirty="0">
                <a:solidFill>
                  <a:schemeClr val="tx1">
                    <a:lumMod val="10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tro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62A49BB-4C48-6D0A-57C5-19278D8B8DFA}"/>
              </a:ext>
            </a:extLst>
          </p:cNvPr>
          <p:cNvSpPr txBox="1">
            <a:spLocks/>
          </p:cNvSpPr>
          <p:nvPr/>
        </p:nvSpPr>
        <p:spPr>
          <a:xfrm>
            <a:off x="9727202" y="3087813"/>
            <a:ext cx="1759942" cy="1930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300"/>
              </a:spcAft>
              <a:buSzPct val="100000"/>
            </a:pPr>
            <a:r>
              <a:rPr lang="en-NL" sz="1200" b="0" dirty="0">
                <a:solidFill>
                  <a:schemeClr val="tx1">
                    <a:lumMod val="10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of of Humanity</a:t>
            </a:r>
            <a:endParaRPr lang="en-US" sz="1200" dirty="0">
              <a:solidFill>
                <a:schemeClr val="tx1">
                  <a:lumMod val="10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E5C8F66-924E-2CA4-2056-581CFA1EB175}"/>
              </a:ext>
            </a:extLst>
          </p:cNvPr>
          <p:cNvSpPr txBox="1">
            <a:spLocks/>
          </p:cNvSpPr>
          <p:nvPr/>
        </p:nvSpPr>
        <p:spPr>
          <a:xfrm>
            <a:off x="9727202" y="2802633"/>
            <a:ext cx="15123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nl-NL" sz="1800" b="1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orldcoin</a:t>
            </a:r>
            <a:endParaRPr lang="en-US" b="1" dirty="0">
              <a:solidFill>
                <a:srgbClr val="31313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25779A0-2813-E8F6-8B7D-FD398BA054FC}"/>
              </a:ext>
            </a:extLst>
          </p:cNvPr>
          <p:cNvSpPr txBox="1">
            <a:spLocks/>
          </p:cNvSpPr>
          <p:nvPr/>
        </p:nvSpPr>
        <p:spPr>
          <a:xfrm>
            <a:off x="7065857" y="2802633"/>
            <a:ext cx="99465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nl-NL" b="1" dirty="0">
                <a:solidFill>
                  <a:schemeClr val="tx1">
                    <a:lumMod val="10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MA</a:t>
            </a:r>
            <a:endParaRPr lang="en-US" b="1" dirty="0">
              <a:solidFill>
                <a:schemeClr val="tx1">
                  <a:lumMod val="10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018A531-CF8A-EC80-1AF5-6EBDF09F081B}"/>
              </a:ext>
            </a:extLst>
          </p:cNvPr>
          <p:cNvSpPr txBox="1">
            <a:spLocks/>
          </p:cNvSpPr>
          <p:nvPr/>
        </p:nvSpPr>
        <p:spPr>
          <a:xfrm>
            <a:off x="1538956" y="5164251"/>
            <a:ext cx="103174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nl-NL" sz="1800" b="1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lygon</a:t>
            </a:r>
            <a:endParaRPr lang="en-US" b="1" dirty="0">
              <a:solidFill>
                <a:srgbClr val="31313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C9E27AC-6DF3-ED35-D918-F2928F261C1B}"/>
              </a:ext>
            </a:extLst>
          </p:cNvPr>
          <p:cNvSpPr txBox="1">
            <a:spLocks/>
          </p:cNvSpPr>
          <p:nvPr/>
        </p:nvSpPr>
        <p:spPr>
          <a:xfrm>
            <a:off x="9727202" y="5164251"/>
            <a:ext cx="65057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nl-NL" sz="18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XMTP</a:t>
            </a:r>
            <a:endParaRPr lang="en-US" b="1" dirty="0">
              <a:solidFill>
                <a:srgbClr val="31313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534AB98-0B03-61F7-654E-DC5F11A47AA3}"/>
              </a:ext>
            </a:extLst>
          </p:cNvPr>
          <p:cNvSpPr txBox="1">
            <a:spLocks/>
          </p:cNvSpPr>
          <p:nvPr/>
        </p:nvSpPr>
        <p:spPr>
          <a:xfrm>
            <a:off x="7065857" y="5164251"/>
            <a:ext cx="120079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nl-NL" sz="18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</a:t>
            </a:r>
            <a:r>
              <a:rPr lang="nl-NL" sz="1800" b="1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aph</a:t>
            </a:r>
            <a:endParaRPr lang="en-US" b="1" dirty="0">
              <a:solidFill>
                <a:srgbClr val="31313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BD3D125-E1FE-102A-3CC0-5914429BA0D1}"/>
              </a:ext>
            </a:extLst>
          </p:cNvPr>
          <p:cNvSpPr txBox="1">
            <a:spLocks/>
          </p:cNvSpPr>
          <p:nvPr/>
        </p:nvSpPr>
        <p:spPr>
          <a:xfrm>
            <a:off x="4135752" y="5172414"/>
            <a:ext cx="1781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nl-NL" sz="18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PFS &amp; </a:t>
            </a:r>
            <a:r>
              <a:rPr lang="nl-NL" sz="1800" b="1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lecoin</a:t>
            </a:r>
            <a:endParaRPr lang="en-US" b="1" dirty="0">
              <a:solidFill>
                <a:srgbClr val="31313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EE32762-F53D-2641-BE77-B0CC47ECF35B}"/>
              </a:ext>
            </a:extLst>
          </p:cNvPr>
          <p:cNvSpPr txBox="1">
            <a:spLocks/>
          </p:cNvSpPr>
          <p:nvPr/>
        </p:nvSpPr>
        <p:spPr>
          <a:xfrm>
            <a:off x="7065857" y="5489661"/>
            <a:ext cx="1759942" cy="3961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300"/>
              </a:spcAft>
              <a:buSzPct val="100000"/>
            </a:pPr>
            <a:r>
              <a:rPr lang="en-US" sz="1200" dirty="0">
                <a:solidFill>
                  <a:schemeClr val="tx1">
                    <a:lumMod val="10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tributions &amp; reputation scor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87D7CFC-8182-3F4C-799A-AE3001A2C1C3}"/>
              </a:ext>
            </a:extLst>
          </p:cNvPr>
          <p:cNvSpPr txBox="1">
            <a:spLocks/>
          </p:cNvSpPr>
          <p:nvPr/>
        </p:nvSpPr>
        <p:spPr>
          <a:xfrm>
            <a:off x="9727202" y="5489661"/>
            <a:ext cx="1759942" cy="1921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300"/>
              </a:spcAft>
              <a:buSzPct val="100000"/>
            </a:pPr>
            <a:r>
              <a:rPr lang="en-US" sz="1200" dirty="0">
                <a:solidFill>
                  <a:schemeClr val="tx1">
                    <a:lumMod val="10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hat with contributors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7A738A3-A099-CAEC-EA26-DB6334CA488F}"/>
              </a:ext>
            </a:extLst>
          </p:cNvPr>
          <p:cNvSpPr txBox="1">
            <a:spLocks/>
          </p:cNvSpPr>
          <p:nvPr/>
        </p:nvSpPr>
        <p:spPr>
          <a:xfrm>
            <a:off x="4135752" y="5489661"/>
            <a:ext cx="1824490" cy="4337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300"/>
              </a:spcAft>
              <a:buSzPct val="100000"/>
            </a:pPr>
            <a:r>
              <a:rPr lang="nl-NL" sz="1200" dirty="0">
                <a:solidFill>
                  <a:schemeClr val="tx1">
                    <a:lumMod val="10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orage </a:t>
            </a:r>
            <a:r>
              <a:rPr lang="nl-NL" sz="1200" dirty="0" err="1">
                <a:solidFill>
                  <a:schemeClr val="tx1">
                    <a:lumMod val="10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crypted</a:t>
            </a:r>
            <a:r>
              <a:rPr lang="nl-NL" sz="1200" dirty="0">
                <a:solidFill>
                  <a:schemeClr val="tx1">
                    <a:lumMod val="10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  <a:p>
            <a:pPr>
              <a:lnSpc>
                <a:spcPct val="110000"/>
              </a:lnSpc>
              <a:spcAft>
                <a:spcPts val="300"/>
              </a:spcAft>
              <a:buSzPct val="100000"/>
            </a:pPr>
            <a:r>
              <a:rPr lang="nl-NL" sz="1200" dirty="0">
                <a:solidFill>
                  <a:schemeClr val="tx1">
                    <a:lumMod val="10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ta </a:t>
            </a:r>
            <a:endParaRPr lang="en-US" sz="1200" dirty="0">
              <a:solidFill>
                <a:schemeClr val="tx1">
                  <a:lumMod val="10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ABF9068-CA7E-384F-3CB3-3E0EFFCE9C6F}"/>
              </a:ext>
            </a:extLst>
          </p:cNvPr>
          <p:cNvSpPr txBox="1">
            <a:spLocks/>
          </p:cNvSpPr>
          <p:nvPr/>
        </p:nvSpPr>
        <p:spPr>
          <a:xfrm>
            <a:off x="1538956" y="5489661"/>
            <a:ext cx="1759942" cy="1930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300"/>
              </a:spcAft>
              <a:buSzPct val="100000"/>
            </a:pPr>
            <a:r>
              <a:rPr lang="nl-NL" sz="1200" dirty="0" err="1">
                <a:solidFill>
                  <a:schemeClr val="tx1">
                    <a:lumMod val="10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nchain</a:t>
            </a:r>
            <a:r>
              <a:rPr lang="nl-NL" sz="1200" dirty="0">
                <a:solidFill>
                  <a:schemeClr val="tx1">
                    <a:lumMod val="10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transaction</a:t>
            </a:r>
            <a:endParaRPr lang="en-US" sz="1200" dirty="0">
              <a:solidFill>
                <a:schemeClr val="tx1">
                  <a:lumMod val="10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293898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10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13D25B5-B3C7-FF03-ACFC-18C1350241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8773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" name="Picture 29">
            <a:extLst>
              <a:ext uri="{FF2B5EF4-FFF2-40B4-BE49-F238E27FC236}">
                <a16:creationId xmlns:a16="http://schemas.microsoft.com/office/drawing/2014/main" id="{20417F28-B0CD-4489-020A-525055381C1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13451" b="26837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B7C6694-8BC8-5B88-3164-15844774B833}"/>
              </a:ext>
            </a:extLst>
          </p:cNvPr>
          <p:cNvSpPr txBox="1">
            <a:spLocks/>
          </p:cNvSpPr>
          <p:nvPr/>
        </p:nvSpPr>
        <p:spPr>
          <a:xfrm>
            <a:off x="335280" y="1798089"/>
            <a:ext cx="11856720" cy="46290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sz="2400" b="1" i="0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2800" b="1" dirty="0">
                <a:solidFill>
                  <a:schemeClr val="bg1"/>
                </a:solidFill>
                <a:highlight>
                  <a:srgbClr val="0000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</a:t>
            </a:r>
            <a:r>
              <a:rPr lang="en-US" sz="2800" b="1" i="0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b3 platform revolutionizing data collection and verification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800" b="1" i="0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ybil-resistant verification with </a:t>
            </a:r>
            <a:r>
              <a:rPr lang="en-US" sz="2800" b="1" i="0" dirty="0" err="1">
                <a:solidFill>
                  <a:schemeClr val="bg1"/>
                </a:solidFill>
                <a:effectLst/>
                <a:highlight>
                  <a:srgbClr val="0000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smo</a:t>
            </a:r>
            <a:r>
              <a:rPr lang="en-US" sz="2800" b="1" i="0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&amp; </a:t>
            </a:r>
            <a:r>
              <a:rPr lang="en-US" sz="2800" b="1" i="0" dirty="0" err="1">
                <a:solidFill>
                  <a:schemeClr val="bg1"/>
                </a:solidFill>
                <a:effectLst/>
                <a:highlight>
                  <a:srgbClr val="0000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orldcoin</a:t>
            </a:r>
            <a:r>
              <a:rPr lang="en-US" sz="2800" b="1" i="0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for genuine user participation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800" b="1" i="0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Zero-knowledge proofs ensure data reliability and authenticity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800" b="1" i="0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Contributors incentivized through rewards &amp; token minting for valuable submission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800" b="1" i="0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Optimistic validation streamlines process, enhancing efficiency and trust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800" b="1" i="0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ecure data storage on IPFS &amp; </a:t>
            </a:r>
            <a:r>
              <a:rPr lang="en-US" sz="2800" b="1" i="0" dirty="0" err="1">
                <a:solidFill>
                  <a:schemeClr val="bg1"/>
                </a:solidFill>
                <a:effectLst/>
                <a:highlight>
                  <a:srgbClr val="0000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lecoin</a:t>
            </a:r>
            <a:r>
              <a:rPr lang="en-US" sz="2800" b="1" i="0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nsures data integrity and transparency</a:t>
            </a:r>
          </a:p>
          <a:p>
            <a:pPr marL="342900" indent="-342900">
              <a:lnSpc>
                <a:spcPct val="110000"/>
              </a:lnSpc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>
                  <a:lumMod val="10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8E97CF5-3ADE-CCB3-83FC-E58441C0A951}"/>
              </a:ext>
            </a:extLst>
          </p:cNvPr>
          <p:cNvSpPr txBox="1"/>
          <p:nvPr/>
        </p:nvSpPr>
        <p:spPr>
          <a:xfrm>
            <a:off x="1674234" y="138850"/>
            <a:ext cx="9679566" cy="27084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4000" b="1" i="0" dirty="0" err="1">
                <a:solidFill>
                  <a:schemeClr val="bg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xForm</a:t>
            </a:r>
            <a:r>
              <a:rPr lang="en-US" sz="4000" b="1" i="0" dirty="0">
                <a:solidFill>
                  <a:schemeClr val="bg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Empowering Decentralized Data Collection</a:t>
            </a:r>
          </a:p>
          <a:p>
            <a:br>
              <a:rPr lang="en-US" sz="4800" b="0" i="0" dirty="0">
                <a:solidFill>
                  <a:srgbClr val="D1D5DB"/>
                </a:solidFill>
                <a:effectLst/>
                <a:latin typeface="Söhne"/>
              </a:rPr>
            </a:br>
            <a:endParaRPr lang="en-US" sz="4800" b="1" dirty="0">
              <a:solidFill>
                <a:schemeClr val="bg1">
                  <a:lumMod val="10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97875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13D25B5-B3C7-FF03-ACFC-18C1350241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3D25B5-B3C7-FF03-ACFC-18C1350241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" name="Picture 29">
            <a:extLst>
              <a:ext uri="{FF2B5EF4-FFF2-40B4-BE49-F238E27FC236}">
                <a16:creationId xmlns:a16="http://schemas.microsoft.com/office/drawing/2014/main" id="{20417F28-B0CD-4489-020A-525055381C1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13451" b="26837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B7C6694-8BC8-5B88-3164-15844774B833}"/>
              </a:ext>
            </a:extLst>
          </p:cNvPr>
          <p:cNvSpPr txBox="1">
            <a:spLocks/>
          </p:cNvSpPr>
          <p:nvPr/>
        </p:nvSpPr>
        <p:spPr>
          <a:xfrm>
            <a:off x="957954" y="1686217"/>
            <a:ext cx="11005446" cy="41981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b="1" i="0" dirty="0">
                <a:solidFill>
                  <a:schemeClr val="bg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2800" b="1" i="0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hallenges in data reliability, authenticity, and user incentivization in web2 and web3 environments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b="1" i="0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Centralized platforms lack robust identity verification, leading to inaccuracies and data manipulation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b="1" i="0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Web3 complexities hinder transparent and trustworthy data sources</a:t>
            </a:r>
          </a:p>
          <a:p>
            <a:pPr marL="342900" indent="-342900">
              <a:lnSpc>
                <a:spcPct val="110000"/>
              </a:lnSpc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>
                  <a:lumMod val="10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8E97CF5-3ADE-CCB3-83FC-E58441C0A951}"/>
              </a:ext>
            </a:extLst>
          </p:cNvPr>
          <p:cNvSpPr txBox="1"/>
          <p:nvPr/>
        </p:nvSpPr>
        <p:spPr>
          <a:xfrm>
            <a:off x="3335394" y="537472"/>
            <a:ext cx="9572886" cy="36933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4400" b="1" i="0" dirty="0">
                <a:solidFill>
                  <a:schemeClr val="bg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blem Statement</a:t>
            </a:r>
          </a:p>
          <a:p>
            <a:br>
              <a:rPr lang="en-US" sz="4800" b="0" i="0" dirty="0">
                <a:solidFill>
                  <a:srgbClr val="D1D5DB"/>
                </a:solidFill>
                <a:effectLst/>
                <a:latin typeface="Söhne"/>
              </a:rPr>
            </a:br>
            <a:br>
              <a:rPr lang="en-US" sz="4800" b="0" i="0" dirty="0">
                <a:solidFill>
                  <a:srgbClr val="D1D5DB"/>
                </a:solidFill>
                <a:effectLst/>
                <a:latin typeface="Söhne"/>
              </a:rPr>
            </a:br>
            <a:br>
              <a:rPr lang="en-US" sz="4800" b="0" i="0" dirty="0">
                <a:solidFill>
                  <a:srgbClr val="D1D5DB"/>
                </a:solidFill>
                <a:effectLst/>
                <a:latin typeface="Söhne"/>
              </a:rPr>
            </a:br>
            <a:r>
              <a:rPr lang="en-US" sz="4800" b="0" i="0" dirty="0">
                <a:solidFill>
                  <a:srgbClr val="D1D5DB"/>
                </a:solidFill>
                <a:effectLst/>
                <a:latin typeface="Söhne"/>
              </a:rPr>
              <a:t> </a:t>
            </a:r>
            <a:endParaRPr lang="en-US" sz="4800" b="1" dirty="0">
              <a:solidFill>
                <a:schemeClr val="bg1">
                  <a:lumMod val="10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93762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13D25B5-B3C7-FF03-ACFC-18C1350241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3D25B5-B3C7-FF03-ACFC-18C1350241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" name="Picture 29">
            <a:extLst>
              <a:ext uri="{FF2B5EF4-FFF2-40B4-BE49-F238E27FC236}">
                <a16:creationId xmlns:a16="http://schemas.microsoft.com/office/drawing/2014/main" id="{20417F28-B0CD-4489-020A-525055381C1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13451" b="26837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B7C6694-8BC8-5B88-3164-15844774B833}"/>
              </a:ext>
            </a:extLst>
          </p:cNvPr>
          <p:cNvSpPr txBox="1">
            <a:spLocks/>
          </p:cNvSpPr>
          <p:nvPr/>
        </p:nvSpPr>
        <p:spPr>
          <a:xfrm>
            <a:off x="731520" y="1234362"/>
            <a:ext cx="11308080" cy="53172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sz="2800" b="1" i="0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2800" b="1" i="0" dirty="0" err="1">
                <a:solidFill>
                  <a:schemeClr val="bg1"/>
                </a:solidFill>
                <a:effectLst/>
                <a:highlight>
                  <a:srgbClr val="0000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smo</a:t>
            </a:r>
            <a:r>
              <a:rPr lang="en-US" sz="2800" b="1" i="0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nd </a:t>
            </a:r>
            <a:r>
              <a:rPr lang="en-US" sz="2800" b="1" i="0" dirty="0" err="1">
                <a:solidFill>
                  <a:schemeClr val="bg1"/>
                </a:solidFill>
                <a:effectLst/>
                <a:highlight>
                  <a:srgbClr val="0000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orldcoin</a:t>
            </a:r>
            <a:r>
              <a:rPr lang="en-US" sz="2800" b="1" i="0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tegration for sybil-resistant verification and zero-knowledge proofs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b="1" i="0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Contributors incentivized with rewards and token minting for valuable contributions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b="1" i="0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ecure data storage on IPFS and </a:t>
            </a:r>
            <a:r>
              <a:rPr lang="en-US" sz="2800" b="1" i="0" dirty="0" err="1">
                <a:solidFill>
                  <a:schemeClr val="bg1"/>
                </a:solidFill>
                <a:effectLst/>
                <a:highlight>
                  <a:srgbClr val="0000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lecoin</a:t>
            </a:r>
            <a:r>
              <a:rPr lang="en-US" sz="2800" b="1" i="0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nsures data integrity </a:t>
            </a:r>
          </a:p>
          <a:p>
            <a:pPr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b="1" i="0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 comprehensive, incentivized data collection solution bridging the gap between traditional and decentralized ecosystems</a:t>
            </a:r>
            <a:endParaRPr lang="en-US" sz="2800" b="1" dirty="0">
              <a:solidFill>
                <a:schemeClr val="bg1"/>
              </a:solidFill>
              <a:highlight>
                <a:srgbClr val="000000"/>
              </a:highlight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8E97CF5-3ADE-CCB3-83FC-E58441C0A951}"/>
              </a:ext>
            </a:extLst>
          </p:cNvPr>
          <p:cNvSpPr txBox="1"/>
          <p:nvPr/>
        </p:nvSpPr>
        <p:spPr>
          <a:xfrm>
            <a:off x="4735308" y="306413"/>
            <a:ext cx="9572886" cy="36933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4400" b="1" i="0" dirty="0">
                <a:solidFill>
                  <a:schemeClr val="bg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lution</a:t>
            </a:r>
          </a:p>
          <a:p>
            <a:br>
              <a:rPr lang="en-US" sz="4800" b="0" i="0" dirty="0">
                <a:solidFill>
                  <a:srgbClr val="D1D5DB"/>
                </a:solidFill>
                <a:effectLst/>
                <a:latin typeface="Söhne"/>
              </a:rPr>
            </a:br>
            <a:br>
              <a:rPr lang="en-US" sz="4800" b="0" i="0" dirty="0">
                <a:solidFill>
                  <a:srgbClr val="D1D5DB"/>
                </a:solidFill>
                <a:effectLst/>
                <a:latin typeface="Söhne"/>
              </a:rPr>
            </a:br>
            <a:br>
              <a:rPr lang="en-US" sz="4800" b="0" i="0" dirty="0">
                <a:solidFill>
                  <a:srgbClr val="D1D5DB"/>
                </a:solidFill>
                <a:effectLst/>
                <a:latin typeface="Söhne"/>
              </a:rPr>
            </a:br>
            <a:r>
              <a:rPr lang="en-US" sz="4800" b="0" i="0" dirty="0">
                <a:solidFill>
                  <a:srgbClr val="D1D5DB"/>
                </a:solidFill>
                <a:effectLst/>
                <a:latin typeface="Söhne"/>
              </a:rPr>
              <a:t> </a:t>
            </a:r>
            <a:endParaRPr lang="en-US" sz="4800" b="1" dirty="0">
              <a:solidFill>
                <a:schemeClr val="bg1">
                  <a:lumMod val="10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44334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13D25B5-B3C7-FF03-ACFC-18C1350241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3D25B5-B3C7-FF03-ACFC-18C1350241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" name="Picture 29">
            <a:extLst>
              <a:ext uri="{FF2B5EF4-FFF2-40B4-BE49-F238E27FC236}">
                <a16:creationId xmlns:a16="http://schemas.microsoft.com/office/drawing/2014/main" id="{20417F28-B0CD-4489-020A-525055381C1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13451" b="26837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44C1DF8-66AF-63D0-3BF3-49C5BD638ED8}"/>
              </a:ext>
            </a:extLst>
          </p:cNvPr>
          <p:cNvSpPr txBox="1"/>
          <p:nvPr/>
        </p:nvSpPr>
        <p:spPr>
          <a:xfrm>
            <a:off x="4328160" y="276372"/>
            <a:ext cx="621792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se</a:t>
            </a:r>
            <a:r>
              <a:rPr lang="en-US" sz="54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4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as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E64EC32-CF30-2AA1-9CCE-F35E078528DA}"/>
              </a:ext>
            </a:extLst>
          </p:cNvPr>
          <p:cNvSpPr txBox="1"/>
          <p:nvPr/>
        </p:nvSpPr>
        <p:spPr>
          <a:xfrm>
            <a:off x="2133600" y="1476072"/>
            <a:ext cx="8945880" cy="34167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800" b="1" i="0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centralized surveys and feedback forms</a:t>
            </a:r>
          </a:p>
          <a:p>
            <a:pPr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800" b="1" i="0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cademic research and data collection</a:t>
            </a:r>
          </a:p>
          <a:p>
            <a:pPr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800" b="1" i="0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ecentralized voting and polls</a:t>
            </a:r>
          </a:p>
          <a:p>
            <a:pPr algn="l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sz="2800" b="1" i="0" dirty="0">
                <a:solidFill>
                  <a:schemeClr val="bg1"/>
                </a:solidFill>
                <a:effectLst/>
                <a:highlight>
                  <a:srgbClr val="0000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ecentralized data marketplaces</a:t>
            </a:r>
          </a:p>
        </p:txBody>
      </p:sp>
    </p:spTree>
    <p:extLst>
      <p:ext uri="{BB962C8B-B14F-4D97-AF65-F5344CB8AC3E}">
        <p14:creationId xmlns:p14="http://schemas.microsoft.com/office/powerpoint/2010/main" val="36990678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2303270-1AC0-C808-2910-5141B3BB60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asic Architecture</a:t>
            </a:r>
          </a:p>
        </p:txBody>
      </p:sp>
      <p:pic>
        <p:nvPicPr>
          <p:cNvPr id="5" name="Picture 4" descr="A diagram of a diagram&#10;&#10;Description automatically generated">
            <a:extLst>
              <a:ext uri="{FF2B5EF4-FFF2-40B4-BE49-F238E27FC236}">
                <a16:creationId xmlns:a16="http://schemas.microsoft.com/office/drawing/2014/main" id="{1662D559-FB63-94CB-4C85-5521F4A4AA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2280" y="840910"/>
            <a:ext cx="8873760" cy="5876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925653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13D25B5-B3C7-FF03-ACFC-18C1350241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3D25B5-B3C7-FF03-ACFC-18C1350241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" name="Picture 29">
            <a:extLst>
              <a:ext uri="{FF2B5EF4-FFF2-40B4-BE49-F238E27FC236}">
                <a16:creationId xmlns:a16="http://schemas.microsoft.com/office/drawing/2014/main" id="{20417F28-B0CD-4489-020A-525055381C1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13451" b="26837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44C1DF8-66AF-63D0-3BF3-49C5BD638ED8}"/>
              </a:ext>
            </a:extLst>
          </p:cNvPr>
          <p:cNvSpPr txBox="1"/>
          <p:nvPr/>
        </p:nvSpPr>
        <p:spPr>
          <a:xfrm>
            <a:off x="3352800" y="1918454"/>
            <a:ext cx="6217920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5400" b="1" i="0" dirty="0">
                <a:solidFill>
                  <a:schemeClr val="bg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mbrace a Data-Driven Future with </a:t>
            </a:r>
            <a:r>
              <a:rPr lang="en-US" sz="5400" b="1" i="0" dirty="0" err="1">
                <a:solidFill>
                  <a:schemeClr val="bg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xForm</a:t>
            </a:r>
            <a:r>
              <a:rPr lang="en-US" sz="5400" b="1" i="0" dirty="0">
                <a:solidFill>
                  <a:schemeClr val="bg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!</a:t>
            </a:r>
            <a:endParaRPr lang="en-US" sz="5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65985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lmpgi3geBMsFpOgqLF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Brand Theme 2020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 2020" id="{975DCFD7-E250-4814-A5CA-A43BEE2AD740}" vid="{224F87AF-EE19-45FD-848F-5842E295326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loitte Brand Theme 2020</Template>
  <TotalTime>3785</TotalTime>
  <Words>260</Words>
  <Application>Microsoft Office PowerPoint</Application>
  <PresentationFormat>Widescreen</PresentationFormat>
  <Paragraphs>54</Paragraphs>
  <Slides>8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rial</vt:lpstr>
      <vt:lpstr>Calibri</vt:lpstr>
      <vt:lpstr>Calibri Light</vt:lpstr>
      <vt:lpstr>Open Sans</vt:lpstr>
      <vt:lpstr>Söhne</vt:lpstr>
      <vt:lpstr>Verdana</vt:lpstr>
      <vt:lpstr>Wingdings 2</vt:lpstr>
      <vt:lpstr>Deloitte Brand Theme 2020</vt:lpstr>
      <vt:lpstr>think-cell Slide</vt:lpstr>
      <vt:lpstr>0xForm Why wasn’t there before?</vt:lpstr>
      <vt:lpstr>Techniques and partners</vt:lpstr>
      <vt:lpstr>PowerPoint Presentation</vt:lpstr>
      <vt:lpstr>PowerPoint Presentation</vt:lpstr>
      <vt:lpstr>PowerPoint Presentation</vt:lpstr>
      <vt:lpstr>PowerPoint Presentation</vt:lpstr>
      <vt:lpstr>Basic Architectur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P benefit run</dc:title>
  <dc:creator>Z155</dc:creator>
  <cp:lastModifiedBy>George Sarris</cp:lastModifiedBy>
  <cp:revision>12</cp:revision>
  <dcterms:created xsi:type="dcterms:W3CDTF">2023-07-14T06:48:28Z</dcterms:created>
  <dcterms:modified xsi:type="dcterms:W3CDTF">2023-07-23T06:36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07-15T22:12:04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a958f9db-529a-4993-90e5-b816b78f6afe</vt:lpwstr>
  </property>
  <property fmtid="{D5CDD505-2E9C-101B-9397-08002B2CF9AE}" pid="8" name="MSIP_Label_ea60d57e-af5b-4752-ac57-3e4f28ca11dc_ContentBits">
    <vt:lpwstr>0</vt:lpwstr>
  </property>
</Properties>
</file>